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7"/>
  </p:notesMasterIdLst>
  <p:sldIdLst>
    <p:sldId id="315" r:id="rId2"/>
    <p:sldId id="313" r:id="rId3"/>
    <p:sldId id="316" r:id="rId4"/>
    <p:sldId id="318" r:id="rId5"/>
    <p:sldId id="319" r:id="rId6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18" userDrawn="1">
          <p15:clr>
            <a:srgbClr val="A4A3A4"/>
          </p15:clr>
        </p15:guide>
        <p15:guide id="2" pos="1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7B6"/>
    <a:srgbClr val="E7E6E6"/>
    <a:srgbClr val="595959"/>
    <a:srgbClr val="9B9D9D"/>
    <a:srgbClr val="9E9F9F"/>
    <a:srgbClr val="6E6E6E"/>
    <a:srgbClr val="759FCC"/>
    <a:srgbClr val="F17E00"/>
    <a:srgbClr val="898989"/>
    <a:srgbClr val="8E8E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60" autoAdjust="0"/>
    <p:restoredTop sz="96048" autoAdjust="0"/>
  </p:normalViewPr>
  <p:slideViewPr>
    <p:cSldViewPr snapToGrid="0">
      <p:cViewPr varScale="1">
        <p:scale>
          <a:sx n="110" d="100"/>
          <a:sy n="110" d="100"/>
        </p:scale>
        <p:origin x="834" y="72"/>
      </p:cViewPr>
      <p:guideLst>
        <p:guide orient="horz" pos="2818"/>
        <p:guide pos="1663"/>
      </p:guideLst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216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D9883-0807-4005-9F68-7E64826AB418}" type="datetimeFigureOut">
              <a:rPr lang="ru-RU" smtClean="0"/>
              <a:t>13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4" y="4777615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6C3879-601A-4437-8C17-4A2CECBF46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192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7988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30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6348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5688" y="6453064"/>
            <a:ext cx="7153216" cy="15549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1862984" y="6669360"/>
            <a:ext cx="271066" cy="158654"/>
          </a:xfrm>
          <a:ln/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0D029BF2-24B2-48BC-B71B-DE3A65B5FA4D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>
                <a:solidFill>
                  <a:srgbClr val="000000"/>
                </a:solidFill>
              </a:rPr>
              <a:t> 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424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536601" y="60187"/>
            <a:ext cx="5655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 СТРАТЕГИИ РАЗВИТИЯ</a:t>
            </a:r>
            <a:r>
              <a:rPr lang="en-U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АНКА «КУБ» (АО) НА 2019-2021гг.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1142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324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948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837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212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614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397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7849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547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4673600"/>
            <a:ext cx="12192000" cy="2184399"/>
          </a:xfrm>
          <a:prstGeom prst="rect">
            <a:avLst/>
          </a:prstGeom>
          <a:solidFill>
            <a:srgbClr val="0057B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304817" y="6417547"/>
            <a:ext cx="1887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www.creditural.ru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54BE97-19FA-45BB-8A0C-D870D4D87A13}"/>
              </a:ext>
            </a:extLst>
          </p:cNvPr>
          <p:cNvSpPr txBox="1"/>
          <p:nvPr/>
        </p:nvSpPr>
        <p:spPr>
          <a:xfrm>
            <a:off x="2906084" y="2305615"/>
            <a:ext cx="680120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UNDAI AERO TOWN, </a:t>
            </a:r>
          </a:p>
          <a:p>
            <a:pPr algn="ctr"/>
            <a:r>
              <a:rPr lang="en-US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N KMJNA18APBC403563, </a:t>
            </a:r>
          </a:p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игатель № </a:t>
            </a:r>
            <a:r>
              <a:rPr lang="en-US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6DA 8604265, </a:t>
            </a:r>
          </a:p>
          <a:p>
            <a:pPr algn="ctr"/>
            <a:r>
              <a:rPr lang="en-US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1 </a:t>
            </a:r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 выпуска, цвет: серый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7" y="256890"/>
            <a:ext cx="2262426" cy="56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72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2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01FD9608-8D90-45FE-BA57-43482DAA63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4473036"/>
              </p:ext>
            </p:extLst>
          </p:nvPr>
        </p:nvGraphicFramePr>
        <p:xfrm>
          <a:off x="390828" y="1465735"/>
          <a:ext cx="11156738" cy="2424106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626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301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8913">
                <a:tc>
                  <a:txBody>
                    <a:bodyPr/>
                    <a:lstStyle/>
                    <a:p>
                      <a:r>
                        <a:rPr lang="ru-RU" sz="1000" b="1" dirty="0"/>
                        <a:t>Наименование 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/>
                        <a:t>HYUNDAI AERO TOWN</a:t>
                      </a:r>
                      <a:endParaRPr lang="ru-RU" sz="1000" b="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dirty="0"/>
                        <a:t>Год выпуска 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dirty="0"/>
                        <a:t>2011</a:t>
                      </a:r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863">
                <a:tc>
                  <a:txBody>
                    <a:bodyPr/>
                    <a:lstStyle/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VIN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/>
                        <a:t>KMJNA18APBC403563</a:t>
                      </a:r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dirty="0"/>
                        <a:t>Цвет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/>
                        <a:t>серей</a:t>
                      </a:r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baseline="0" dirty="0"/>
                        <a:t>Категория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9503">
                <a:tc>
                  <a:txBody>
                    <a:bodyPr/>
                    <a:lstStyle/>
                    <a:p>
                      <a:r>
                        <a:rPr lang="ru-RU" sz="1000" b="1" dirty="0"/>
                        <a:t>Номер двигателя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/>
                        <a:t>D6DA 8604265</a:t>
                      </a:r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kern="1200" dirty="0">
                          <a:effectLst/>
                        </a:rPr>
                        <a:t>Колесная формула 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kern="1200" dirty="0">
                          <a:effectLst/>
                        </a:rPr>
                        <a:t>4х2</a:t>
                      </a:r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kern="1200" dirty="0">
                          <a:effectLst/>
                        </a:rPr>
                        <a:t>Трансмиссия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6318">
                <a:tc>
                  <a:txBody>
                    <a:bodyPr/>
                    <a:lstStyle/>
                    <a:p>
                      <a:r>
                        <a:rPr lang="ru-RU" sz="1000" b="1" dirty="0"/>
                        <a:t>Пробег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b="0" kern="1200" dirty="0">
                          <a:effectLst/>
                        </a:rPr>
                        <a:t>213744</a:t>
                      </a:r>
                      <a:endParaRPr lang="ru-RU" sz="1000" b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87022">
                <a:tc>
                  <a:txBody>
                    <a:bodyPr/>
                    <a:lstStyle/>
                    <a:p>
                      <a:r>
                        <a:rPr lang="ru-RU" sz="1000" b="1" dirty="0"/>
                        <a:t>Техническое состояние</a:t>
                      </a:r>
                      <a:r>
                        <a:rPr lang="ru-RU" sz="1000" b="1" baseline="0" dirty="0"/>
                        <a:t> 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7120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3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A047F58-2D20-4FAF-AA55-4EE61C1182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727" y="966651"/>
            <a:ext cx="7692545" cy="576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92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4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54EBD63-2E1F-41B8-8C4A-BCC15E185E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8583" y="994934"/>
            <a:ext cx="7654834" cy="574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867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5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0D3C604-7A80-4AE7-B385-553424980C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145" y="982277"/>
            <a:ext cx="7671710" cy="5753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494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6XQsEryEGR5qw8UBcS6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04</TotalTime>
  <Words>52</Words>
  <Application>Microsoft Office PowerPoint</Application>
  <PresentationFormat>Широкоэкранный</PresentationFormat>
  <Paragraphs>26</Paragraphs>
  <Slides>5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0" baseType="lpstr">
      <vt:lpstr>Arial</vt:lpstr>
      <vt:lpstr>Arial Narrow</vt:lpstr>
      <vt:lpstr>Calibri</vt:lpstr>
      <vt:lpstr>Calibri Light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емыкина Наталья Сергеевна</dc:creator>
  <cp:lastModifiedBy>Комарова Ксения Олеговна</cp:lastModifiedBy>
  <cp:revision>1015</cp:revision>
  <cp:lastPrinted>2018-11-28T04:22:12Z</cp:lastPrinted>
  <dcterms:created xsi:type="dcterms:W3CDTF">2018-08-31T10:58:07Z</dcterms:created>
  <dcterms:modified xsi:type="dcterms:W3CDTF">2025-10-13T07:47:55Z</dcterms:modified>
</cp:coreProperties>
</file>